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5"/>
  </p:notesMasterIdLst>
  <p:handoutMasterIdLst>
    <p:handoutMasterId r:id="rId16"/>
  </p:handoutMasterIdLst>
  <p:sldIdLst>
    <p:sldId id="256" r:id="rId6"/>
    <p:sldId id="693" r:id="rId7"/>
    <p:sldId id="657" r:id="rId8"/>
    <p:sldId id="696" r:id="rId9"/>
    <p:sldId id="703" r:id="rId10"/>
    <p:sldId id="700" r:id="rId11"/>
    <p:sldId id="702" r:id="rId12"/>
    <p:sldId id="697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57"/>
            <p14:sldId id="696"/>
            <p14:sldId id="703"/>
            <p14:sldId id="700"/>
            <p14:sldId id="702"/>
            <p14:sldId id="69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3C3C3"/>
    <a:srgbClr val="039CD1"/>
    <a:srgbClr val="EB9E2F"/>
    <a:srgbClr val="001440"/>
    <a:srgbClr val="000C26"/>
    <a:srgbClr val="FF9833"/>
    <a:srgbClr val="B7616B"/>
    <a:srgbClr val="309BFF"/>
    <a:srgbClr val="E861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7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7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0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3815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3512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7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7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7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351" y="6219545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Programming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46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s a way of instructing the computer to perform various tasks. These instructions are written in a language that the computer understands. The instruction could be as simple as: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dding the population of Ethiopia and Sudan.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at is the square root of 16?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st like Ethiopians can understand Amharic, Somalia understand Somali, Kenyans and Ugandans understand Swahili, so is the case with computers. Computers understand instructions that are written in a specific syntax called a programming language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at is programming?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367935" y="5406089"/>
            <a:ext cx="11593145" cy="727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opular programming languages for data science are Python, R, and Julia. 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73855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Various programming languages</a:t>
            </a:r>
          </a:p>
        </p:txBody>
      </p:sp>
      <p:pic>
        <p:nvPicPr>
          <p:cNvPr id="5" name="image25.png">
            <a:extLst>
              <a:ext uri="{FF2B5EF4-FFF2-40B4-BE49-F238E27FC236}">
                <a16:creationId xmlns:a16="http://schemas.microsoft.com/office/drawing/2014/main" id="{F9144F52-A7EC-4670-B704-E4396D322D82}"/>
              </a:ext>
            </a:extLst>
          </p:cNvPr>
          <p:cNvPicPr/>
          <p:nvPr/>
        </p:nvPicPr>
        <p:blipFill rotWithShape="1">
          <a:blip r:embed="rId3"/>
          <a:srcRect r="48129" b="50353"/>
          <a:stretch/>
        </p:blipFill>
        <p:spPr>
          <a:xfrm>
            <a:off x="614198" y="2059396"/>
            <a:ext cx="2322130" cy="2544160"/>
          </a:xfrm>
          <a:prstGeom prst="rect">
            <a:avLst/>
          </a:prstGeom>
          <a:ln/>
        </p:spPr>
      </p:pic>
      <p:pic>
        <p:nvPicPr>
          <p:cNvPr id="6" name="image25.png">
            <a:extLst>
              <a:ext uri="{FF2B5EF4-FFF2-40B4-BE49-F238E27FC236}">
                <a16:creationId xmlns:a16="http://schemas.microsoft.com/office/drawing/2014/main" id="{653AD63C-96BC-4700-BDBB-E92001094FAE}"/>
              </a:ext>
            </a:extLst>
          </p:cNvPr>
          <p:cNvPicPr/>
          <p:nvPr/>
        </p:nvPicPr>
        <p:blipFill rotWithShape="1">
          <a:blip r:embed="rId3"/>
          <a:srcRect t="49395" r="48129" b="958"/>
          <a:stretch/>
        </p:blipFill>
        <p:spPr>
          <a:xfrm>
            <a:off x="3550526" y="2104499"/>
            <a:ext cx="2322130" cy="2544160"/>
          </a:xfrm>
          <a:prstGeom prst="rect">
            <a:avLst/>
          </a:prstGeom>
          <a:ln/>
        </p:spPr>
      </p:pic>
      <p:pic>
        <p:nvPicPr>
          <p:cNvPr id="7" name="image25.png">
            <a:extLst>
              <a:ext uri="{FF2B5EF4-FFF2-40B4-BE49-F238E27FC236}">
                <a16:creationId xmlns:a16="http://schemas.microsoft.com/office/drawing/2014/main" id="{272233C8-1A9F-430B-8488-FDA74A8CFB3F}"/>
              </a:ext>
            </a:extLst>
          </p:cNvPr>
          <p:cNvPicPr/>
          <p:nvPr/>
        </p:nvPicPr>
        <p:blipFill rotWithShape="1">
          <a:blip r:embed="rId3"/>
          <a:srcRect l="50000" t="49736"/>
          <a:stretch/>
        </p:blipFill>
        <p:spPr>
          <a:xfrm>
            <a:off x="9339427" y="2182653"/>
            <a:ext cx="2238376" cy="2575785"/>
          </a:xfrm>
          <a:prstGeom prst="rect">
            <a:avLst/>
          </a:prstGeom>
          <a:ln/>
        </p:spPr>
      </p:pic>
      <p:pic>
        <p:nvPicPr>
          <p:cNvPr id="9" name="image25.png">
            <a:extLst>
              <a:ext uri="{FF2B5EF4-FFF2-40B4-BE49-F238E27FC236}">
                <a16:creationId xmlns:a16="http://schemas.microsoft.com/office/drawing/2014/main" id="{3B6456F7-9550-44C3-94AE-23AFD1EE9E69}"/>
              </a:ext>
            </a:extLst>
          </p:cNvPr>
          <p:cNvPicPr/>
          <p:nvPr/>
        </p:nvPicPr>
        <p:blipFill rotWithShape="1">
          <a:blip r:embed="rId3"/>
          <a:srcRect l="50000" b="49736"/>
          <a:stretch/>
        </p:blipFill>
        <p:spPr>
          <a:xfrm>
            <a:off x="6486854" y="2083867"/>
            <a:ext cx="2238375" cy="257578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37505"/>
            <a:ext cx="11593145" cy="3625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s fu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ming increases your critical thinking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You can automate a task easily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You can earn more money by coding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backbone of a Technology Company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81443" y="173855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Why learning computer programming?</a:t>
            </a:r>
          </a:p>
          <a:p>
            <a:pPr marL="0" marR="0">
              <a:spcBef>
                <a:spcPts val="200"/>
              </a:spcBef>
              <a:spcAft>
                <a:spcPts val="600"/>
              </a:spcAft>
            </a:pP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20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88603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299427" y="1783847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427" y="1732670"/>
            <a:ext cx="11593146" cy="325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ython is one of the most popular programming language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a 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general-purpose programming language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was developed by Guido van Rossum in 1991</a:t>
            </a:r>
            <a:endParaRPr lang="en-US" alt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easy to learn and the code is readable.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 is an open-source</a:t>
            </a:r>
            <a:endParaRPr lang="en-US" altLang="en-US" sz="2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301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96191" y="173855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1195141"/>
            <a:ext cx="11593146" cy="547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lnSpc>
                <a:spcPct val="150000"/>
              </a:lnSpc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structions are given in a shorter code compared to other programming languages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8BC9719-196E-40D6-84F9-AE653E4A20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2" t="13969" r="17628" b="5244"/>
          <a:stretch/>
        </p:blipFill>
        <p:spPr>
          <a:xfrm>
            <a:off x="4493172" y="2406525"/>
            <a:ext cx="2427890" cy="451337"/>
          </a:xfrm>
          <a:prstGeom prst="rect">
            <a:avLst/>
          </a:prstGeom>
          <a:ln>
            <a:solidFill>
              <a:srgbClr val="FFFFFF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1F2C40A-D283-4540-AD34-423EDD4B85A4}"/>
              </a:ext>
            </a:extLst>
          </p:cNvPr>
          <p:cNvGrpSpPr/>
          <p:nvPr/>
        </p:nvGrpSpPr>
        <p:grpSpPr>
          <a:xfrm>
            <a:off x="165021" y="3935568"/>
            <a:ext cx="4209511" cy="1995353"/>
            <a:chOff x="165021" y="3935568"/>
            <a:chExt cx="4209511" cy="199535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F1969C0-23D5-47A3-AC12-ECD2A722B3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39" r="3518" b="5069"/>
            <a:stretch/>
          </p:blipFill>
          <p:spPr>
            <a:xfrm>
              <a:off x="165021" y="4397233"/>
              <a:ext cx="4209511" cy="1533688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84FBF8F-7087-4812-AFA7-4666C7A67B84}"/>
                </a:ext>
              </a:extLst>
            </p:cNvPr>
            <p:cNvSpPr txBox="1"/>
            <p:nvPr/>
          </p:nvSpPr>
          <p:spPr>
            <a:xfrm>
              <a:off x="299427" y="3935568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C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70966C7-174D-48F1-8750-D3FD4CBCDDCD}"/>
              </a:ext>
            </a:extLst>
          </p:cNvPr>
          <p:cNvGrpSpPr/>
          <p:nvPr/>
        </p:nvGrpSpPr>
        <p:grpSpPr>
          <a:xfrm>
            <a:off x="4597456" y="3939670"/>
            <a:ext cx="4288161" cy="1858509"/>
            <a:chOff x="4700692" y="3939670"/>
            <a:chExt cx="4288161" cy="185850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5569782-8546-49AF-9E50-C9FD64ADD5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524" t="1708" r="1777" b="-1661"/>
            <a:stretch/>
          </p:blipFill>
          <p:spPr>
            <a:xfrm>
              <a:off x="4700692" y="4451475"/>
              <a:ext cx="4288161" cy="134670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E16427D-EF80-4585-BD77-5E24B213D16A}"/>
                </a:ext>
              </a:extLst>
            </p:cNvPr>
            <p:cNvSpPr txBox="1"/>
            <p:nvPr/>
          </p:nvSpPr>
          <p:spPr>
            <a:xfrm>
              <a:off x="4735953" y="3939670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Java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AC0A24F-83D8-4752-AE8E-C438E28DFD63}"/>
              </a:ext>
            </a:extLst>
          </p:cNvPr>
          <p:cNvGrpSpPr/>
          <p:nvPr/>
        </p:nvGrpSpPr>
        <p:grpSpPr>
          <a:xfrm>
            <a:off x="9133489" y="4176591"/>
            <a:ext cx="3058511" cy="1362921"/>
            <a:chOff x="9133489" y="4043858"/>
            <a:chExt cx="3058511" cy="136292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F603B40-2BB8-4168-B7E8-6A50C66E8A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120" r="5243" b="23579"/>
            <a:stretch/>
          </p:blipFill>
          <p:spPr>
            <a:xfrm>
              <a:off x="9133489" y="4847706"/>
              <a:ext cx="3058511" cy="55907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6B6E5D-C2B4-41ED-A011-DE6F9F21EF1C}"/>
                </a:ext>
              </a:extLst>
            </p:cNvPr>
            <p:cNvSpPr txBox="1"/>
            <p:nvPr/>
          </p:nvSpPr>
          <p:spPr>
            <a:xfrm>
              <a:off x="9172479" y="4043858"/>
              <a:ext cx="194232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400" b="1" dirty="0">
                  <a:solidFill>
                    <a:schemeClr val="accent2"/>
                  </a:solidFill>
                </a:rPr>
                <a:t>Pyth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51947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ython Programming languag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7949D4-7B75-4902-B5C1-0478AE400C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1181" y="3666400"/>
            <a:ext cx="4564669" cy="25812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image31.png">
            <a:extLst>
              <a:ext uri="{FF2B5EF4-FFF2-40B4-BE49-F238E27FC236}">
                <a16:creationId xmlns:a16="http://schemas.microsoft.com/office/drawing/2014/main" id="{176B7998-0629-4D0C-AA93-C664DC114B9C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299427" y="1256782"/>
            <a:ext cx="5109775" cy="244562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785923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5</TotalTime>
  <Words>218</Words>
  <Application>Microsoft Office PowerPoint</Application>
  <PresentationFormat>Widescreen</PresentationFormat>
  <Paragraphs>2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Gotham Light</vt:lpstr>
      <vt:lpstr>Lato Light</vt:lpstr>
      <vt:lpstr>Times New Roman</vt:lpstr>
      <vt:lpstr>Wingdings</vt:lpstr>
      <vt:lpstr>1_Office Theme</vt:lpstr>
      <vt:lpstr>2_Office Theme</vt:lpstr>
      <vt:lpstr>think-cell Slide</vt:lpstr>
      <vt:lpstr>Introduction to Programming in Python</vt:lpstr>
      <vt:lpstr>Programming in Pyth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27</cp:revision>
  <dcterms:created xsi:type="dcterms:W3CDTF">2020-03-16T19:15:12Z</dcterms:created>
  <dcterms:modified xsi:type="dcterms:W3CDTF">2021-05-07T15:4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